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2"/>
  </p:notesMasterIdLst>
  <p:handoutMasterIdLst>
    <p:handoutMasterId r:id="rId13"/>
  </p:handoutMasterIdLst>
  <p:sldIdLst>
    <p:sldId id="1277" r:id="rId3"/>
    <p:sldId id="1293" r:id="rId4"/>
    <p:sldId id="1294" r:id="rId5"/>
    <p:sldId id="1296" r:id="rId6"/>
    <p:sldId id="1359" r:id="rId7"/>
    <p:sldId id="1343" r:id="rId8"/>
    <p:sldId id="1344" r:id="rId9"/>
    <p:sldId id="1345" r:id="rId10"/>
    <p:sldId id="1346" r:id="rId11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5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7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7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7</a:t>
            </a:r>
            <a:r>
              <a:rPr lang="cs-CZ" b="1" dirty="0" smtClean="0"/>
              <a:t>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192186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7</a:t>
            </a:r>
            <a:r>
              <a:rPr lang="cs-CZ" b="1" dirty="0" smtClean="0"/>
              <a:t>.12.2021 00:29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947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60105"/>
              </p:ext>
            </p:extLst>
          </p:nvPr>
        </p:nvGraphicFramePr>
        <p:xfrm>
          <a:off x="9041813" y="4258643"/>
          <a:ext cx="2771688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4912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896776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cs-CZ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3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,4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,1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141800"/>
              </p:ext>
            </p:extLst>
          </p:nvPr>
        </p:nvGraphicFramePr>
        <p:xfrm>
          <a:off x="332818" y="972014"/>
          <a:ext cx="8633185" cy="5344869"/>
        </p:xfrm>
        <a:graphic>
          <a:graphicData uri="http://schemas.openxmlformats.org/drawingml/2006/table">
            <a:tbl>
              <a:tblPr/>
              <a:tblGrid>
                <a:gridCol w="1878724">
                  <a:extLst>
                    <a:ext uri="{9D8B030D-6E8A-4147-A177-3AD203B41FA5}">
                      <a16:colId xmlns:a16="http://schemas.microsoft.com/office/drawing/2014/main" val="2391294850"/>
                    </a:ext>
                  </a:extLst>
                </a:gridCol>
                <a:gridCol w="1150240">
                  <a:extLst>
                    <a:ext uri="{9D8B030D-6E8A-4147-A177-3AD203B41FA5}">
                      <a16:colId xmlns:a16="http://schemas.microsoft.com/office/drawing/2014/main" val="4157997503"/>
                    </a:ext>
                  </a:extLst>
                </a:gridCol>
                <a:gridCol w="1063971">
                  <a:extLst>
                    <a:ext uri="{9D8B030D-6E8A-4147-A177-3AD203B41FA5}">
                      <a16:colId xmlns:a16="http://schemas.microsoft.com/office/drawing/2014/main" val="2588133407"/>
                    </a:ext>
                  </a:extLst>
                </a:gridCol>
                <a:gridCol w="1060777">
                  <a:extLst>
                    <a:ext uri="{9D8B030D-6E8A-4147-A177-3AD203B41FA5}">
                      <a16:colId xmlns:a16="http://schemas.microsoft.com/office/drawing/2014/main" val="2893776869"/>
                    </a:ext>
                  </a:extLst>
                </a:gridCol>
                <a:gridCol w="1099117">
                  <a:extLst>
                    <a:ext uri="{9D8B030D-6E8A-4147-A177-3AD203B41FA5}">
                      <a16:colId xmlns:a16="http://schemas.microsoft.com/office/drawing/2014/main" val="1540472948"/>
                    </a:ext>
                  </a:extLst>
                </a:gridCol>
                <a:gridCol w="1102313">
                  <a:extLst>
                    <a:ext uri="{9D8B030D-6E8A-4147-A177-3AD203B41FA5}">
                      <a16:colId xmlns:a16="http://schemas.microsoft.com/office/drawing/2014/main" val="4149184666"/>
                    </a:ext>
                  </a:extLst>
                </a:gridCol>
                <a:gridCol w="1278043">
                  <a:extLst>
                    <a:ext uri="{9D8B030D-6E8A-4147-A177-3AD203B41FA5}">
                      <a16:colId xmlns:a16="http://schemas.microsoft.com/office/drawing/2014/main" val="1870174537"/>
                    </a:ext>
                  </a:extLst>
                </a:gridCol>
              </a:tblGrid>
              <a:tr h="19696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6335533"/>
                  </a:ext>
                </a:extLst>
              </a:tr>
              <a:tr h="19696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7.12. 2021, 11:3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6876070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538920"/>
                  </a:ext>
                </a:extLst>
              </a:tr>
              <a:tr h="1969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4107238"/>
                  </a:ext>
                </a:extLst>
              </a:tr>
              <a:tr h="77019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865088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264683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759422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4877775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4467122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401663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8863649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634688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6376371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2944161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5266342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6440323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5714266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3799718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4353986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7584072"/>
                  </a:ext>
                </a:extLst>
              </a:tr>
              <a:tr h="25753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7775733"/>
                  </a:ext>
                </a:extLst>
              </a:tr>
              <a:tr h="19696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5631794"/>
                  </a:ext>
                </a:extLst>
              </a:tr>
              <a:tr h="19696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41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98105"/>
              </p:ext>
            </p:extLst>
          </p:nvPr>
        </p:nvGraphicFramePr>
        <p:xfrm>
          <a:off x="332819" y="963611"/>
          <a:ext cx="8802388" cy="5322322"/>
        </p:xfrm>
        <a:graphic>
          <a:graphicData uri="http://schemas.openxmlformats.org/drawingml/2006/table">
            <a:tbl>
              <a:tblPr/>
              <a:tblGrid>
                <a:gridCol w="1915546">
                  <a:extLst>
                    <a:ext uri="{9D8B030D-6E8A-4147-A177-3AD203B41FA5}">
                      <a16:colId xmlns:a16="http://schemas.microsoft.com/office/drawing/2014/main" val="1133592932"/>
                    </a:ext>
                  </a:extLst>
                </a:gridCol>
                <a:gridCol w="1172783">
                  <a:extLst>
                    <a:ext uri="{9D8B030D-6E8A-4147-A177-3AD203B41FA5}">
                      <a16:colId xmlns:a16="http://schemas.microsoft.com/office/drawing/2014/main" val="58231679"/>
                    </a:ext>
                  </a:extLst>
                </a:gridCol>
                <a:gridCol w="1084825">
                  <a:extLst>
                    <a:ext uri="{9D8B030D-6E8A-4147-A177-3AD203B41FA5}">
                      <a16:colId xmlns:a16="http://schemas.microsoft.com/office/drawing/2014/main" val="3857879801"/>
                    </a:ext>
                  </a:extLst>
                </a:gridCol>
                <a:gridCol w="1081566">
                  <a:extLst>
                    <a:ext uri="{9D8B030D-6E8A-4147-A177-3AD203B41FA5}">
                      <a16:colId xmlns:a16="http://schemas.microsoft.com/office/drawing/2014/main" val="1394888248"/>
                    </a:ext>
                  </a:extLst>
                </a:gridCol>
                <a:gridCol w="1120659">
                  <a:extLst>
                    <a:ext uri="{9D8B030D-6E8A-4147-A177-3AD203B41FA5}">
                      <a16:colId xmlns:a16="http://schemas.microsoft.com/office/drawing/2014/main" val="2338613241"/>
                    </a:ext>
                  </a:extLst>
                </a:gridCol>
                <a:gridCol w="1123917">
                  <a:extLst>
                    <a:ext uri="{9D8B030D-6E8A-4147-A177-3AD203B41FA5}">
                      <a16:colId xmlns:a16="http://schemas.microsoft.com/office/drawing/2014/main" val="3678924552"/>
                    </a:ext>
                  </a:extLst>
                </a:gridCol>
                <a:gridCol w="1303092">
                  <a:extLst>
                    <a:ext uri="{9D8B030D-6E8A-4147-A177-3AD203B41FA5}">
                      <a16:colId xmlns:a16="http://schemas.microsoft.com/office/drawing/2014/main" val="801189301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632399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7.12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359280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302279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716962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216669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029581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6429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02690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805034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9154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16938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82213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954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111971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387804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639038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3094719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140810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5896038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433105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367599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983638"/>
                  </a:ext>
                </a:extLst>
              </a:tr>
              <a:tr h="7504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9656283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749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7.12.2021 00:29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5 573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587920"/>
              </p:ext>
            </p:extLst>
          </p:nvPr>
        </p:nvGraphicFramePr>
        <p:xfrm>
          <a:off x="332818" y="1043112"/>
          <a:ext cx="8459490" cy="5303976"/>
        </p:xfrm>
        <a:graphic>
          <a:graphicData uri="http://schemas.openxmlformats.org/drawingml/2006/table">
            <a:tbl>
              <a:tblPr/>
              <a:tblGrid>
                <a:gridCol w="1804854">
                  <a:extLst>
                    <a:ext uri="{9D8B030D-6E8A-4147-A177-3AD203B41FA5}">
                      <a16:colId xmlns:a16="http://schemas.microsoft.com/office/drawing/2014/main" val="4092371997"/>
                    </a:ext>
                  </a:extLst>
                </a:gridCol>
                <a:gridCol w="1105012">
                  <a:extLst>
                    <a:ext uri="{9D8B030D-6E8A-4147-A177-3AD203B41FA5}">
                      <a16:colId xmlns:a16="http://schemas.microsoft.com/office/drawing/2014/main" val="1252242147"/>
                    </a:ext>
                  </a:extLst>
                </a:gridCol>
                <a:gridCol w="1022137">
                  <a:extLst>
                    <a:ext uri="{9D8B030D-6E8A-4147-A177-3AD203B41FA5}">
                      <a16:colId xmlns:a16="http://schemas.microsoft.com/office/drawing/2014/main" val="2681270893"/>
                    </a:ext>
                  </a:extLst>
                </a:gridCol>
                <a:gridCol w="1019068">
                  <a:extLst>
                    <a:ext uri="{9D8B030D-6E8A-4147-A177-3AD203B41FA5}">
                      <a16:colId xmlns:a16="http://schemas.microsoft.com/office/drawing/2014/main" val="1145843797"/>
                    </a:ext>
                  </a:extLst>
                </a:gridCol>
                <a:gridCol w="1055902">
                  <a:extLst>
                    <a:ext uri="{9D8B030D-6E8A-4147-A177-3AD203B41FA5}">
                      <a16:colId xmlns:a16="http://schemas.microsoft.com/office/drawing/2014/main" val="2478332817"/>
                    </a:ext>
                  </a:extLst>
                </a:gridCol>
                <a:gridCol w="1227793">
                  <a:extLst>
                    <a:ext uri="{9D8B030D-6E8A-4147-A177-3AD203B41FA5}">
                      <a16:colId xmlns:a16="http://schemas.microsoft.com/office/drawing/2014/main" val="1083165116"/>
                    </a:ext>
                  </a:extLst>
                </a:gridCol>
                <a:gridCol w="1224724">
                  <a:extLst>
                    <a:ext uri="{9D8B030D-6E8A-4147-A177-3AD203B41FA5}">
                      <a16:colId xmlns:a16="http://schemas.microsoft.com/office/drawing/2014/main" val="2268858617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639068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6.12. 2021, 11:3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02374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8246569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410402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11986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5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04473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17862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17682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11537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73721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09080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99958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84838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7442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8158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220030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48248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01398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4610196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3628463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175338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0259969"/>
                  </a:ext>
                </a:extLst>
              </a:tr>
              <a:tr h="13737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589599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622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7.12.2021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15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617671" y="2809292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939634"/>
              </p:ext>
            </p:extLst>
          </p:nvPr>
        </p:nvGraphicFramePr>
        <p:xfrm>
          <a:off x="951773" y="1273277"/>
          <a:ext cx="6398596" cy="4524370"/>
        </p:xfrm>
        <a:graphic>
          <a:graphicData uri="http://schemas.openxmlformats.org/drawingml/2006/table">
            <a:tbl>
              <a:tblPr/>
              <a:tblGrid>
                <a:gridCol w="399266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64324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41605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Kolín, a.s., Nemocnice Kutná Hora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.12.2021 14:2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2.12.2021 16:1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76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6:3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7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9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22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.12.2021 22:3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32956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. Pardubického kraje, a.s., Pardubická nem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7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7117458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av pro péči o matku a dítě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8:3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7591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ská nemocnice Liberec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9:2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5069619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9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970689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11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48462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družené zdravot. zařízení Krnov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 Nemocni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2.2021 11:1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3975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59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088458"/>
              </p:ext>
            </p:extLst>
          </p:nvPr>
        </p:nvGraphicFramePr>
        <p:xfrm>
          <a:off x="367815" y="963978"/>
          <a:ext cx="11405086" cy="516320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079315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335553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žádá o zastavení přísunu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C+ pac. z důvodu úplného vyčerpání kapacit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4779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prakticky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Situace se zhoršuje, postupně navyšovány kapacity standardní i intenzivní péče, kde již minimální rezerva jednotek lůžek. Mnohde již na hraně možností, které jsou nižší než v jarních měsících.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krizová situace může i během hodin přejít v krizovou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 D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7403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0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ze očekávat další zhoršování především v segmentu intenzivní péče jak pro COVID tak i non-COVID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736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237326"/>
              </p:ext>
            </p:extLst>
          </p:nvPr>
        </p:nvGraphicFramePr>
        <p:xfrm>
          <a:off x="270500" y="990491"/>
          <a:ext cx="11587543" cy="5539242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5799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chází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k o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IP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 jednání KŠ kraje: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 páteřních </a:t>
                      </a:r>
                      <a:r>
                        <a:rPr lang="cs-CZ" sz="13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</a:t>
                      </a: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kraje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zdravotníků v LBK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 kapacitních a personálních důvodů laboratoří v kraji trvá vyhodnocení PCR i týden.</a:t>
                      </a: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stabilizovaná situace s mírným postupným nárůstem. Potenciálním problémem jsou nákazy v LDN v několika zařízeních (Horažďovice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ivame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 Při předpokladu zhoršování stavu pacientů vyžadujících IP je nutné uvažovat o dalším omezení elektivní péče v horizontu týdne – momentální JIP kapacita je významně plná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552319"/>
              </p:ext>
            </p:extLst>
          </p:nvPr>
        </p:nvGraphicFramePr>
        <p:xfrm>
          <a:off x="350228" y="664385"/>
          <a:ext cx="11519385" cy="6074950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670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9325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11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ání KŠ: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á naplněnos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ddělení nemocnic, připravena redistribuce pacientů mezi nemocnicemi v kraji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Třebíč, Nové Město n/M)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obdobná, zatím bez překladů v rámci kraje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098300"/>
              </p:ext>
            </p:extLst>
          </p:nvPr>
        </p:nvGraphicFramePr>
        <p:xfrm>
          <a:off x="337698" y="706833"/>
          <a:ext cx="11435203" cy="4042430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týdne velký počet příjmů na JIP. Nyní situace řešitelná v rámci kraje (3.12. otevřeny další JIP kapacity pro C+). Posledních pět dnů pozorujeme stagnaci počtu hospitalizovaných v pásmu 380-390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lineární nárůst cca 15 pacientů denně na standardních odd., zatím méně na J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ardy plné ve Vsetíně a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JIP plné ve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robíhají denně převozy pacientů v rámci ZLK (vše do KNTB Zlín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45 PN, z toho 40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2342</TotalTime>
  <Words>1907</Words>
  <Application>Microsoft Office PowerPoint</Application>
  <PresentationFormat>Širokoúhlá obrazovka</PresentationFormat>
  <Paragraphs>542</Paragraphs>
  <Slides>9</Slides>
  <Notes>2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9</vt:i4>
      </vt:variant>
    </vt:vector>
  </HeadingPairs>
  <TitlesOfParts>
    <vt:vector size="16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644</cp:revision>
  <cp:lastPrinted>2020-10-20T04:21:56Z</cp:lastPrinted>
  <dcterms:created xsi:type="dcterms:W3CDTF">2020-07-15T10:33:32Z</dcterms:created>
  <dcterms:modified xsi:type="dcterms:W3CDTF">2021-12-07T10:19:15Z</dcterms:modified>
</cp:coreProperties>
</file>